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notesSlides/notesSlide9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4"/>
  </p:notesMasterIdLst>
  <p:handoutMasterIdLst>
    <p:handoutMasterId r:id="rId15"/>
  </p:handoutMasterIdLst>
  <p:sldIdLst>
    <p:sldId id="311" r:id="rId4"/>
    <p:sldId id="340" r:id="rId5"/>
    <p:sldId id="366" r:id="rId6"/>
    <p:sldId id="368" r:id="rId7"/>
    <p:sldId id="367" r:id="rId8"/>
    <p:sldId id="369" r:id="rId9"/>
    <p:sldId id="370" r:id="rId10"/>
    <p:sldId id="371" r:id="rId11"/>
    <p:sldId id="329" r:id="rId12"/>
    <p:sldId id="349" r:id="rId13"/>
  </p:sldIdLst>
  <p:sldSz cx="9906000" cy="6858000" type="A4"/>
  <p:notesSz cx="6896100" cy="10033000"/>
  <p:custDataLst>
    <p:tags r:id="rId1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125" d="100"/>
          <a:sy n="125" d="100"/>
        </p:scale>
        <p:origin x="-1188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8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Excercise1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60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9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3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2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7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6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1.png"/><Relationship Id="rId2" Type="http://schemas.openxmlformats.org/officeDocument/2006/relationships/tags" Target="../tags/tag6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0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4.png"/><Relationship Id="rId2" Type="http://schemas.openxmlformats.org/officeDocument/2006/relationships/tags" Target="../tags/tag6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3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6.png"/><Relationship Id="rId2" Type="http://schemas.openxmlformats.org/officeDocument/2006/relationships/tags" Target="../tags/tag6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5.png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184478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</a:t>
            </a:r>
            <a:r>
              <a:rPr lang="en-US" sz="4400" dirty="0" err="1" smtClean="0">
                <a:effectLst/>
                <a:latin typeface="Comic Sans MS"/>
              </a:rPr>
              <a:t>Zadanie</a:t>
            </a:r>
            <a:r>
              <a:rPr lang="en-US" sz="4400" dirty="0" smtClean="0">
                <a:effectLst/>
                <a:latin typeface="Comic Sans MS"/>
              </a:rPr>
              <a:t> 1</a:t>
            </a:r>
            <a:endParaRPr lang="en-GB" dirty="0"/>
          </a:p>
        </p:txBody>
      </p:sp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72350" y="5373270"/>
            <a:ext cx="3024420" cy="1017562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939345" y="4365130"/>
            <a:ext cx="1838325" cy="1828800"/>
          </a:xfrm>
          <a:prstGeom prst="rect">
            <a:avLst/>
          </a:prstGeom>
          <a:noFill/>
        </p:spPr>
      </p:pic>
      <p:sp>
        <p:nvSpPr>
          <p:cNvPr id="11" name="Title 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5690" y="2276840"/>
            <a:ext cx="9906000" cy="1944270"/>
          </a:xfrm>
          <a:prstGeom prst="rect">
            <a:avLst/>
          </a:prstGeom>
        </p:spPr>
        <p:txBody>
          <a:bodyPr vert="horz" lIns="36000" tIns="36000" rIns="360000" bIns="36000" rtlCol="0" anchor="ctr">
            <a:noAutofit/>
          </a:bodyPr>
          <a:lstStyle/>
          <a:p>
            <a:pPr marL="0" marR="0" lvl="0" indent="0" algn="l" defTabSz="9956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      </a:t>
            </a:r>
            <a:r>
              <a:rPr kumimoji="0" lang="pl-PL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Tworzenie duszka i poruszanie nim</a:t>
            </a:r>
            <a:r>
              <a:rPr kumimoji="0" lang="pl-PL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w 4 kierunkach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omic Sans MS" pitchFamily="66" charset="0"/>
              <a:ea typeface="+mj-ea"/>
              <a:cs typeface="+mj-cs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Wskazówki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21728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konaj wszystkie ćwiczenia krok po kroku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ćwiczeniach możesz posiłkować się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y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rukowanymi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artami (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crat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rd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eśli potrzebujesz pomocy, poproś prowadzącego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6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160890" y="486920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Dodaj nowego duszka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64088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odaj nowego duszka z pliku (wybierz plik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Cat.sprite2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liknij zakładkę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ostume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 Duszek powinien posiadać 1 strój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żesz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usunąc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duszk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Sprite1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klikając na niego i wybierając polecenie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delet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14021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225725" y="1916790"/>
            <a:ext cx="20478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0" name="Straight Arrow Connector 19"/>
          <p:cNvCxnSpPr/>
          <p:nvPr/>
        </p:nvCxnSpPr>
        <p:spPr>
          <a:xfrm flipH="1">
            <a:off x="8836072" y="1268700"/>
            <a:ext cx="5468" cy="64809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4022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185310" y="2564880"/>
            <a:ext cx="2192304" cy="1584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24" name="Picture 8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185310" y="4437140"/>
            <a:ext cx="1685925" cy="171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6" name="Straight Arrow Connector 25"/>
          <p:cNvCxnSpPr/>
          <p:nvPr/>
        </p:nvCxnSpPr>
        <p:spPr>
          <a:xfrm flipH="1">
            <a:off x="8121440" y="5589300"/>
            <a:ext cx="1008140" cy="36005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606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Poruszaj duszkiem w 4 kierunk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741703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cznijmy od przesuwania kota w prawo:</a:t>
            </a:r>
          </a:p>
          <a:p>
            <a:pPr marL="639763" lvl="1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znacz duszka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a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w panelu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Sprites</a:t>
            </a:r>
            <a:r>
              <a:rPr lang="pl-PL" sz="2400" b="1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b="1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b="1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639763" lvl="1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panelu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Script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zaznacz grupę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Event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a następnie przeciągnij blok                   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wciśnięto spację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na obszar skryptowy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639763" lvl="1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liknij na strzałkę obok słowa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ac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i wybierz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right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arrow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strzałka w prawo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z listy.</a:t>
            </a:r>
          </a:p>
        </p:txBody>
      </p:sp>
      <p:pic>
        <p:nvPicPr>
          <p:cNvPr id="215043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761390" y="1700760"/>
            <a:ext cx="1440200" cy="98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257320" y="3284980"/>
            <a:ext cx="2096193" cy="792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45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953000" y="3323515"/>
            <a:ext cx="1656230" cy="465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46" name="Picture 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257320" y="5085230"/>
            <a:ext cx="2296740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50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Poruszaj duszkiem w 4 kierunk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885723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zesuwanie w prawo (c.d.):</a:t>
            </a:r>
          </a:p>
          <a:p>
            <a:pPr marL="639763" lvl="1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grupy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Motion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Ru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przeciągnij blok                                              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wskaż w kierunku 90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oraz              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zrób 10 kroków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</a:t>
            </a:r>
          </a:p>
          <a:p>
            <a:pPr marL="639763" lvl="1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łącz razem jak na rysunku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15049" name="Picture 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025010" y="2276840"/>
            <a:ext cx="1104900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50" name="Picture 10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609230" y="1844780"/>
            <a:ext cx="14859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53" name="Picture 1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88380" y="3068950"/>
            <a:ext cx="5432111" cy="3363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51" name="Picture 11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736970" y="3140960"/>
            <a:ext cx="3744520" cy="148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2700"/>
            <a:bevelB w="12700"/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709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Poruszaj duszkiem w 4 kierunk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864120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2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wtórz kroki z punktu 1 dla strzałek w górę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up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arrow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, w dół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down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arrow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i w lewo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left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arrow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i kierunków odpowiednio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0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180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i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-90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 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2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2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2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2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uszaj kotkiem we wszystkich kierunkach za pomocą strzałek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1709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76420" y="2780910"/>
            <a:ext cx="8172450" cy="103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200340" y="4985740"/>
            <a:ext cx="5112710" cy="182773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    Jak porusza się kot w różnych kierunkach? Spróbuj zmieniać styl obracania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rotation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styl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duszka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17093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385060" y="4653170"/>
            <a:ext cx="2560616" cy="1584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753250" y="5085230"/>
            <a:ext cx="2996588" cy="1224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630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3. Dostosuj wygląd duszka do kierunku ruchu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907326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znacz duszka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a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w panelu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Sprites</a:t>
            </a:r>
            <a:endParaRPr lang="pl-PL" sz="2400" dirty="0" smtClean="0">
              <a:solidFill>
                <a:srgbClr val="FF99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bierz panel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ostume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a następnie kliknij ikonę folderu ze strzałką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bierz kolejno 3 pozostałe rysunki kota (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t_right.sv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t_left.sv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t_back.sv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2630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505385" y="2348850"/>
            <a:ext cx="2200275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Straight Arrow Connector 12"/>
          <p:cNvCxnSpPr/>
          <p:nvPr/>
        </p:nvCxnSpPr>
        <p:spPr>
          <a:xfrm>
            <a:off x="3944860" y="2564880"/>
            <a:ext cx="4064595" cy="43206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6308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953000" y="3573020"/>
            <a:ext cx="4623182" cy="2824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733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3. Dostosuj wygląd duszka do kierunku ruchu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907326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4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zbierz grupę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Look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Wygląd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w panelu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Script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endParaRPr lang="pl-PL" sz="2400" b="1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4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o każdego z 4 skryptów z kroku 2 dodaj blok                    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przełącz strój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4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bierz stroje tak aby wygląd kota pasował do kierunku ruchu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4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uszaj kotkiem we wszystkich kierunkach za pomocą strzałek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27332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473350" y="1988800"/>
            <a:ext cx="19431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7334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48431" y="3573020"/>
            <a:ext cx="8353160" cy="1194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08</Words>
  <Application>Microsoft Office PowerPoint</Application>
  <PresentationFormat>A4 Paper (210x297 mm)</PresentationFormat>
  <Paragraphs>73</Paragraphs>
  <Slides>10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Blank</vt:lpstr>
      <vt:lpstr>Closing slides</vt:lpstr>
      <vt:lpstr>Section break</vt:lpstr>
      <vt:lpstr>think-cell Slide</vt:lpstr>
      <vt:lpstr>       Zadanie 1</vt:lpstr>
      <vt:lpstr>Wskazówki</vt:lpstr>
      <vt:lpstr>Krok 1. Dodaj nowego duszka</vt:lpstr>
      <vt:lpstr>Krok 2. Poruszaj duszkiem w 4 kierunkach</vt:lpstr>
      <vt:lpstr>Krok 2. Poruszaj duszkiem w 4 kierunkach</vt:lpstr>
      <vt:lpstr>Krok 2. Poruszaj duszkiem w 4 kierunkach</vt:lpstr>
      <vt:lpstr>Krok 3. Dostosuj wygląd duszka do kierunku ruchu</vt:lpstr>
      <vt:lpstr>Krok 3. Dostosuj wygląd duszka do kierunku ruchu</vt:lpstr>
      <vt:lpstr>Slide 9</vt:lpstr>
      <vt:lpstr>Slide 10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Krzysztof Sobkowiak</cp:lastModifiedBy>
  <cp:revision>122</cp:revision>
  <dcterms:created xsi:type="dcterms:W3CDTF">2014-10-21T19:55:20Z</dcterms:created>
  <dcterms:modified xsi:type="dcterms:W3CDTF">2014-11-28T04:28:09Z</dcterms:modified>
</cp:coreProperties>
</file>